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7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5BC51E-CC96-5CAE-A507-8671D07942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FD101BB-C011-B02F-76F8-BD4B29FDD2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D101BB-C011-B02F-76F8-BD4B29FDD2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5394AD-3DE3-D03D-9E0C-9C1550417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8015B0B-536F-9577-95CE-7732BD3A9D1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F619EDE-89F9-91B7-2408-6F7B15236CAD}"/>
              </a:ext>
            </a:extLst>
          </p:cNvPr>
          <p:cNvGraphicFramePr>
            <a:graphicFrameLocks noGrp="1"/>
          </p:cNvGraphicFramePr>
          <p:nvPr/>
        </p:nvGraphicFramePr>
        <p:xfrm>
          <a:off x="762308" y="1062430"/>
          <a:ext cx="10667385" cy="43604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477">
                  <a:extLst>
                    <a:ext uri="{9D8B030D-6E8A-4147-A177-3AD203B41FA5}">
                      <a16:colId xmlns:a16="http://schemas.microsoft.com/office/drawing/2014/main" val="3077138859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2990919094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1132258403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423687948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618411138"/>
                    </a:ext>
                  </a:extLst>
                </a:gridCol>
              </a:tblGrid>
              <a:tr h="419086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Company Product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Target Customer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Key Benefits 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Value Proposition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4481279"/>
                  </a:ext>
                </a:extLst>
              </a:tr>
              <a:tr h="656886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6848440"/>
                  </a:ext>
                </a:extLst>
              </a:tr>
              <a:tr h="656886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8427161"/>
                  </a:ext>
                </a:extLst>
              </a:tr>
              <a:tr h="656886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553458"/>
                  </a:ext>
                </a:extLst>
              </a:tr>
              <a:tr h="656886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5013419"/>
                  </a:ext>
                </a:extLst>
              </a:tr>
              <a:tr h="656886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2799504"/>
                  </a:ext>
                </a:extLst>
              </a:tr>
              <a:tr h="656886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1719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3639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7</TotalTime>
  <Words>101</Words>
  <Application>Microsoft Office PowerPoint</Application>
  <PresentationFormat>Widescreen</PresentationFormat>
  <Paragraphs>3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03</cp:revision>
  <dcterms:created xsi:type="dcterms:W3CDTF">2021-03-31T02:49:57Z</dcterms:created>
  <dcterms:modified xsi:type="dcterms:W3CDTF">2025-10-15T02:46:51Z</dcterms:modified>
  <cp:category/>
</cp:coreProperties>
</file>